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5"/>
  </p:notesMasterIdLst>
  <p:handoutMasterIdLst>
    <p:handoutMasterId r:id="rId6"/>
  </p:handoutMasterIdLst>
  <p:sldIdLst>
    <p:sldId id="380" r:id="rId3"/>
    <p:sldId id="381" r:id="rId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13" autoAdjust="0"/>
    <p:restoredTop sz="93819" autoAdjust="0"/>
  </p:normalViewPr>
  <p:slideViewPr>
    <p:cSldViewPr>
      <p:cViewPr varScale="1">
        <p:scale>
          <a:sx n="119" d="100"/>
          <a:sy n="119" d="100"/>
        </p:scale>
        <p:origin x="328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pos="2265"/>
        <p:guide orient="horz" pos="2932"/>
        <p:guide pos="2212"/>
        <p:guide pos="2315"/>
        <p:guide pos="2261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3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2/3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3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2/3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71" tIns="47284" rIns="94571" bIns="4728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8"/>
            <a:ext cx="5608320" cy="4183380"/>
          </a:xfrm>
          <a:prstGeom prst="rect">
            <a:avLst/>
          </a:prstGeom>
        </p:spPr>
        <p:txBody>
          <a:bodyPr vert="horz" lIns="94571" tIns="47284" rIns="94571" bIns="472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T logo. Massachusetts Bay Transportation Authoirty.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12/3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December 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12/3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12/3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December 3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DGM Remark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>
                <a:solidFill>
                  <a:srgbClr val="002060"/>
                </a:solidFill>
              </a:rPr>
              <a:t>December 3, 2018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>
                <a:solidFill>
                  <a:schemeClr val="tx1"/>
                </a:solidFill>
              </a:rPr>
              <a:t>Fiscal &amp; Management Control Board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1000" y="951565"/>
            <a:ext cx="79392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2400" b="1" dirty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Modernization Program (WMP) Mileston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1000" y="411718"/>
            <a:ext cx="1787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M Remarks 12/3/18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1001" y="1321871"/>
            <a:ext cx="449579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ASTUS Daily “live” for the Bennett Gar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HASTUS Daily is a software that will modernize the MBTA’s systems for planning, tracking, and managing work assignments for heavy rail, light rail, and bus op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mplementation efforts for HASTUS Daily for remaining Bus Garages and Rail, including integration with Payroll, in progre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D83BF0-64DA-498F-9B9A-4EC2AAEFDA4A}"/>
              </a:ext>
            </a:extLst>
          </p:cNvPr>
          <p:cNvSpPr txBox="1"/>
          <p:nvPr/>
        </p:nvSpPr>
        <p:spPr>
          <a:xfrm>
            <a:off x="345831" y="4714745"/>
            <a:ext cx="4530969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streamlined business processes will provi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 pitchFamily="34" charset="0"/>
              </a:rPr>
              <a:t>An automated, more efficient daily scheduling process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 pitchFamily="34" charset="0"/>
              </a:rPr>
              <a:t>A reduction in manual and paper-based activities</a:t>
            </a:r>
            <a:endParaRPr lang="en-US" dirty="0">
              <a:latin typeface="+mj-lt"/>
            </a:endParaRPr>
          </a:p>
        </p:txBody>
      </p:sp>
      <p:pic>
        <p:nvPicPr>
          <p:cNvPr id="6" name="Picture 5" descr="T employee in a neon jacket and hat, talking on the phone, while sitting a a desk with 2 computer monitor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57"/>
          <a:stretch/>
        </p:blipFill>
        <p:spPr>
          <a:xfrm>
            <a:off x="4876800" y="2189535"/>
            <a:ext cx="4039825" cy="368853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Down Arrow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7279400">
            <a:off x="7620000" y="4738191"/>
            <a:ext cx="484632" cy="97840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12080" y="2362199"/>
            <a:ext cx="445920" cy="66783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19463" y="2362199"/>
            <a:ext cx="397958" cy="6618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019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5088</TotalTime>
  <Words>101</Words>
  <Application>Microsoft Macintosh PowerPoint</Application>
  <PresentationFormat>On-screen Show (4:3)</PresentationFormat>
  <Paragraphs>16</Paragraphs>
  <Slides>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Montserrat</vt:lpstr>
      <vt:lpstr>Verdana</vt:lpstr>
      <vt:lpstr>MBTA Default Template</vt:lpstr>
      <vt:lpstr>1_MBTA Default Template</vt:lpstr>
      <vt:lpstr>DGM Remark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Siddiqui, Aayesha</cp:lastModifiedBy>
  <cp:revision>1353</cp:revision>
  <cp:lastPrinted>2018-12-03T20:33:50Z</cp:lastPrinted>
  <dcterms:created xsi:type="dcterms:W3CDTF">2016-04-11T13:25:01Z</dcterms:created>
  <dcterms:modified xsi:type="dcterms:W3CDTF">2018-12-03T21:05:32Z</dcterms:modified>
</cp:coreProperties>
</file>